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210A1735-088F-402A-8C28-8456FEA7BA68}">
          <p14:sldIdLst>
            <p14:sldId id="2147475173"/>
            <p14:sldId id="2147475174"/>
            <p14:sldId id="2147475175"/>
            <p14:sldId id="2147475176"/>
            <p14:sldId id="2147475177"/>
            <p14:sldId id="2147475178"/>
          </p14:sldIdLst>
        </p14:section>
        <p14:section name="Brackets By Retailer By Sector" id="{F3382E36-DF36-4CF5-9575-6EAB8EDBB92B}">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D0F52D04-0D68-4CB1-AC48-E86C8A872397}">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4377507072776E-2</c:v>
                </c:pt>
                <c:pt idx="1">
                  <c:v>1.9033626479877733E-2</c:v>
                </c:pt>
                <c:pt idx="2">
                  <c:v>1.9827508280769839E-2</c:v>
                </c:pt>
                <c:pt idx="3">
                  <c:v>4.6176309521501771E-2</c:v>
                </c:pt>
                <c:pt idx="4">
                  <c:v>6.9141447185096516E-2</c:v>
                </c:pt>
                <c:pt idx="5">
                  <c:v>9.9088582204497205E-2</c:v>
                </c:pt>
                <c:pt idx="6">
                  <c:v>0.12890045057876501</c:v>
                </c:pt>
                <c:pt idx="7">
                  <c:v>0.17819960100478047</c:v>
                </c:pt>
                <c:pt idx="8">
                  <c:v>0.24263268612335279</c:v>
                </c:pt>
                <c:pt idx="9">
                  <c:v>9.1669505526999359E-2</c:v>
                </c:pt>
                <c:pt idx="10">
                  <c:v>8.86259055872865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9812717608735983E-3</c:v>
                </c:pt>
                <c:pt idx="4">
                  <c:v>7.5990963650850868E-3</c:v>
                </c:pt>
                <c:pt idx="5">
                  <c:v>3.5924220732757128E-3</c:v>
                </c:pt>
                <c:pt idx="6">
                  <c:v>3.2777212980458176E-3</c:v>
                </c:pt>
                <c:pt idx="7">
                  <c:v>4.1556947684890846E-3</c:v>
                </c:pt>
                <c:pt idx="8">
                  <c:v>1.8617436727184685E-3</c:v>
                </c:pt>
                <c:pt idx="9">
                  <c:v>1.441070302449457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612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8</c:v>
                </c:pt>
                <c:pt idx="5">
                  <c:v>0.28115211531318079</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1</c:v>
                </c:pt>
                <c:pt idx="5">
                  <c:v>0.23404232341194106</c:v>
                </c:pt>
                <c:pt idx="6">
                  <c:v>0.1719810820120844</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62066226389675E-2</c:v>
                </c:pt>
                <c:pt idx="1">
                  <c:v>1.1322501101184695E-2</c:v>
                </c:pt>
                <c:pt idx="2">
                  <c:v>1.391455219372234E-2</c:v>
                </c:pt>
                <c:pt idx="3">
                  <c:v>9.0043460856499752E-2</c:v>
                </c:pt>
                <c:pt idx="4">
                  <c:v>5.7044640694140274E-2</c:v>
                </c:pt>
                <c:pt idx="5">
                  <c:v>0.12465870549148711</c:v>
                </c:pt>
                <c:pt idx="6">
                  <c:v>0.11514928294657306</c:v>
                </c:pt>
                <c:pt idx="7">
                  <c:v>0.1871274516940177</c:v>
                </c:pt>
                <c:pt idx="8">
                  <c:v>0.21430449882698099</c:v>
                </c:pt>
                <c:pt idx="9">
                  <c:v>0.10899183968071161</c:v>
                </c:pt>
                <c:pt idx="10">
                  <c:v>6.38224042507857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015941668175954E-2</c:v>
                </c:pt>
                <c:pt idx="4">
                  <c:v>3.9081359199743898E-2</c:v>
                </c:pt>
                <c:pt idx="5">
                  <c:v>4.124769773083601E-2</c:v>
                </c:pt>
                <c:pt idx="6">
                  <c:v>2.2447565871506092E-2</c:v>
                </c:pt>
                <c:pt idx="7">
                  <c:v>7.0072880077931637E-2</c:v>
                </c:pt>
                <c:pt idx="8">
                  <c:v>1.775360760129362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212E-2</c:v>
                </c:pt>
                <c:pt idx="6">
                  <c:v>9.5739273110062556E-2</c:v>
                </c:pt>
                <c:pt idx="7">
                  <c:v>0.19579893844579263</c:v>
                </c:pt>
                <c:pt idx="8">
                  <c:v>0.18662621492811068</c:v>
                </c:pt>
                <c:pt idx="9">
                  <c:v>2.09478712533785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6.7302200976453883E-2</c:v>
                </c:pt>
                <c:pt idx="4">
                  <c:v>7.3258272750350337E-2</c:v>
                </c:pt>
                <c:pt idx="5">
                  <c:v>3.46323593536196E-2</c:v>
                </c:pt>
                <c:pt idx="6">
                  <c:v>3.1598520312906206E-2</c:v>
                </c:pt>
                <c:pt idx="7">
                  <c:v>4.0062529304925924E-2</c:v>
                </c:pt>
                <c:pt idx="8">
                  <c:v>1.7947940020065979E-2</c:v>
                </c:pt>
                <c:pt idx="9">
                  <c:v>1.38924835529559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1.0202896374155589E-3</c:v>
                </c:pt>
                <c:pt idx="3">
                  <c:v>8.3158173813198243E-3</c:v>
                </c:pt>
                <c:pt idx="4">
                  <c:v>9.5288143400435749E-3</c:v>
                </c:pt>
                <c:pt idx="6">
                  <c:v>1.0506368196031462E-3</c:v>
                </c:pt>
                <c:pt idx="7">
                  <c:v>1.028528435928596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9.6249555725583351E-3</c:v>
                </c:pt>
                <c:pt idx="3">
                  <c:v>7.8447697506224962E-2</c:v>
                </c:pt>
                <c:pt idx="4">
                  <c:v>8.9890567657232176E-2</c:v>
                </c:pt>
                <c:pt idx="5">
                  <c:v>1.1853292649575801E-3</c:v>
                </c:pt>
                <c:pt idx="6">
                  <c:v>9.9112373004093986E-3</c:v>
                </c:pt>
                <c:pt idx="7">
                  <c:v>9.702676708548813E-2</c:v>
                </c:pt>
                <c:pt idx="8">
                  <c:v>3.708295819672215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48E-2</c:v>
                </c:pt>
                <c:pt idx="2">
                  <c:v>4.4503254509310457E-3</c:v>
                </c:pt>
                <c:pt idx="3">
                  <c:v>6.4716249229014172E-2</c:v>
                </c:pt>
                <c:pt idx="4">
                  <c:v>2.4844439046991046E-2</c:v>
                </c:pt>
                <c:pt idx="5">
                  <c:v>6.5073631970893664E-2</c:v>
                </c:pt>
                <c:pt idx="6">
                  <c:v>0.12226394010157357</c:v>
                </c:pt>
                <c:pt idx="7">
                  <c:v>0.24437305930213671</c:v>
                </c:pt>
                <c:pt idx="8">
                  <c:v>0.24572902336939234</c:v>
                </c:pt>
                <c:pt idx="9">
                  <c:v>0.15850126894474115</c:v>
                </c:pt>
                <c:pt idx="10">
                  <c:v>4.243778455336497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7</c:v>
                </c:pt>
                <c:pt idx="6">
                  <c:v>0.12398962027820842</c:v>
                </c:pt>
                <c:pt idx="7">
                  <c:v>0.1210615521418764</c:v>
                </c:pt>
                <c:pt idx="8">
                  <c:v>0.3262023710047276</c:v>
                </c:pt>
                <c:pt idx="9">
                  <c:v>0.10121561452946574</c:v>
                </c:pt>
                <c:pt idx="10">
                  <c:v>9.50555590826723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77E-3</c:v>
                </c:pt>
                <c:pt idx="1">
                  <c:v>1.6414059402893172E-2</c:v>
                </c:pt>
                <c:pt idx="2">
                  <c:v>1.8161040186737358E-2</c:v>
                </c:pt>
                <c:pt idx="3">
                  <c:v>4.1076518711765486E-2</c:v>
                </c:pt>
                <c:pt idx="4">
                  <c:v>7.1941890867163433E-2</c:v>
                </c:pt>
                <c:pt idx="5">
                  <c:v>9.2447332939716881E-2</c:v>
                </c:pt>
                <c:pt idx="6">
                  <c:v>0.10831682527395142</c:v>
                </c:pt>
                <c:pt idx="7">
                  <c:v>0.18902377510261559</c:v>
                </c:pt>
                <c:pt idx="8">
                  <c:v>0.19576873044059107</c:v>
                </c:pt>
                <c:pt idx="9">
                  <c:v>4.9546663979823755E-2</c:v>
                </c:pt>
                <c:pt idx="10">
                  <c:v>0.211159130405139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1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4377507072776E-2</c:v>
                </c:pt>
                <c:pt idx="1">
                  <c:v>1.9033626479877733E-2</c:v>
                </c:pt>
                <c:pt idx="2">
                  <c:v>1.9827508280769839E-2</c:v>
                </c:pt>
                <c:pt idx="3">
                  <c:v>4.6176309521501771E-2</c:v>
                </c:pt>
                <c:pt idx="4">
                  <c:v>6.9141447185096516E-2</c:v>
                </c:pt>
                <c:pt idx="5">
                  <c:v>9.9088582204497205E-2</c:v>
                </c:pt>
                <c:pt idx="6">
                  <c:v>0.12890045057876501</c:v>
                </c:pt>
                <c:pt idx="7">
                  <c:v>0.17819960100478047</c:v>
                </c:pt>
                <c:pt idx="8">
                  <c:v>0.24263268612335279</c:v>
                </c:pt>
                <c:pt idx="9">
                  <c:v>9.1669505526999359E-2</c:v>
                </c:pt>
                <c:pt idx="10">
                  <c:v>8.86259055872865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5</c:v>
                </c:pt>
                <c:pt idx="6">
                  <c:v>0.12647657415686708</c:v>
                </c:pt>
                <c:pt idx="7">
                  <c:v>0.19717935221122623</c:v>
                </c:pt>
                <c:pt idx="8">
                  <c:v>0.14705443469514709</c:v>
                </c:pt>
                <c:pt idx="9">
                  <c:v>0.12556180470126249</c:v>
                </c:pt>
                <c:pt idx="10">
                  <c:v>0.134117996070405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5E-2</c:v>
                </c:pt>
                <c:pt idx="5">
                  <c:v>0.14762693303421914</c:v>
                </c:pt>
                <c:pt idx="6">
                  <c:v>0.13467382647792436</c:v>
                </c:pt>
                <c:pt idx="7">
                  <c:v>0.15483900827319605</c:v>
                </c:pt>
                <c:pt idx="8">
                  <c:v>0.26165380079754724</c:v>
                </c:pt>
                <c:pt idx="9">
                  <c:v>0.18614307658344179</c:v>
                </c:pt>
                <c:pt idx="10">
                  <c:v>2.043856841517618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4</c:v>
                </c:pt>
                <c:pt idx="6">
                  <c:v>0.1286472547711171</c:v>
                </c:pt>
                <c:pt idx="7">
                  <c:v>0.1797236450590925</c:v>
                </c:pt>
                <c:pt idx="8">
                  <c:v>0.24907140238754868</c:v>
                </c:pt>
                <c:pt idx="9">
                  <c:v>0.15553268833943143</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85E-2</c:v>
                </c:pt>
                <c:pt idx="5">
                  <c:v>0.15797971891225537</c:v>
                </c:pt>
                <c:pt idx="6">
                  <c:v>9.598337906718378E-2</c:v>
                </c:pt>
                <c:pt idx="7">
                  <c:v>0.21068997706434744</c:v>
                </c:pt>
                <c:pt idx="8">
                  <c:v>0.19968366113881508</c:v>
                </c:pt>
                <c:pt idx="9">
                  <c:v>0.15604544109593402</c:v>
                </c:pt>
                <c:pt idx="10">
                  <c:v>4.26984153395650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E-2</c:v>
                </c:pt>
                <c:pt idx="1">
                  <c:v>2.3450659593645454E-2</c:v>
                </c:pt>
                <c:pt idx="2">
                  <c:v>4.2418163511807661E-2</c:v>
                </c:pt>
                <c:pt idx="3">
                  <c:v>2.0666175437598685E-2</c:v>
                </c:pt>
                <c:pt idx="4">
                  <c:v>5.0223009271810573E-2</c:v>
                </c:pt>
                <c:pt idx="5">
                  <c:v>7.2486072766880225E-2</c:v>
                </c:pt>
                <c:pt idx="6">
                  <c:v>0.14481255446315666</c:v>
                </c:pt>
                <c:pt idx="7">
                  <c:v>0.16464962829241298</c:v>
                </c:pt>
                <c:pt idx="8">
                  <c:v>0.37080110599668015</c:v>
                </c:pt>
                <c:pt idx="9">
                  <c:v>7.1442598795916912E-2</c:v>
                </c:pt>
                <c:pt idx="10">
                  <c:v>2.9383996426922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5.8931155398722788E-3</c:v>
                </c:pt>
                <c:pt idx="7">
                  <c:v>4.2781196847330675E-3</c:v>
                </c:pt>
                <c:pt idx="8">
                  <c:v>7.9741540923640442E-3</c:v>
                </c:pt>
                <c:pt idx="9">
                  <c:v>7.8305511332296305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38E-2</c:v>
                </c:pt>
                <c:pt idx="3">
                  <c:v>2.4302963422487257E-2</c:v>
                </c:pt>
                <c:pt idx="4">
                  <c:v>6.8264835910008606E-2</c:v>
                </c:pt>
                <c:pt idx="5">
                  <c:v>8.1085129025960004E-2</c:v>
                </c:pt>
                <c:pt idx="6">
                  <c:v>0.17391019501158081</c:v>
                </c:pt>
                <c:pt idx="7">
                  <c:v>0.21549263910120092</c:v>
                </c:pt>
                <c:pt idx="8">
                  <c:v>0.18617788954780065</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612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8</c:v>
                </c:pt>
                <c:pt idx="5">
                  <c:v>0.28115211531318079</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1</c:v>
                </c:pt>
                <c:pt idx="5">
                  <c:v>0.23404232341194106</c:v>
                </c:pt>
                <c:pt idx="6">
                  <c:v>0.1719810820120844</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8E-2</c:v>
                </c:pt>
                <c:pt idx="1">
                  <c:v>2.5712148835382798E-2</c:v>
                </c:pt>
                <c:pt idx="2">
                  <c:v>3.3589224880169175E-2</c:v>
                </c:pt>
                <c:pt idx="3">
                  <c:v>4.7555465818613675E-2</c:v>
                </c:pt>
                <c:pt idx="4">
                  <c:v>7.2169314610381535E-2</c:v>
                </c:pt>
                <c:pt idx="5">
                  <c:v>0.11538975237199359</c:v>
                </c:pt>
                <c:pt idx="6">
                  <c:v>0.13910064653920554</c:v>
                </c:pt>
                <c:pt idx="7">
                  <c:v>0.18415888055193388</c:v>
                </c:pt>
                <c:pt idx="8">
                  <c:v>0.19567579739573698</c:v>
                </c:pt>
                <c:pt idx="9">
                  <c:v>0.1373325993517957</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212E-2</c:v>
                </c:pt>
                <c:pt idx="6">
                  <c:v>9.5739273110062556E-2</c:v>
                </c:pt>
                <c:pt idx="7">
                  <c:v>0.19579893844579263</c:v>
                </c:pt>
                <c:pt idx="8">
                  <c:v>0.18662621492811068</c:v>
                </c:pt>
                <c:pt idx="9">
                  <c:v>2.09478712533785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3.6642986528543759E-3</c:v>
                </c:pt>
                <c:pt idx="6">
                  <c:v>3.0894232753136022E-3</c:v>
                </c:pt>
                <c:pt idx="7">
                  <c:v>6.4601847886509864E-3</c:v>
                </c:pt>
                <c:pt idx="8">
                  <c:v>8.665698137942348E-3</c:v>
                </c:pt>
                <c:pt idx="9">
                  <c:v>1.088078530865875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5.2169058119941238E-4</c:v>
                </c:pt>
                <c:pt idx="5">
                  <c:v>1.825891858014151E-2</c:v>
                </c:pt>
                <c:pt idx="7">
                  <c:v>3.0103958299176215E-2</c:v>
                </c:pt>
                <c:pt idx="8">
                  <c:v>3.790488467516881E-2</c:v>
                </c:pt>
                <c:pt idx="9">
                  <c:v>6.090090250095975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48E-2</c:v>
                </c:pt>
                <c:pt idx="2">
                  <c:v>4.4503254509310457E-3</c:v>
                </c:pt>
                <c:pt idx="3">
                  <c:v>6.4716249229014172E-2</c:v>
                </c:pt>
                <c:pt idx="4">
                  <c:v>2.4844439046991046E-2</c:v>
                </c:pt>
                <c:pt idx="5">
                  <c:v>6.5073631970893664E-2</c:v>
                </c:pt>
                <c:pt idx="6">
                  <c:v>0.12226394010157357</c:v>
                </c:pt>
                <c:pt idx="7">
                  <c:v>0.24437305930213671</c:v>
                </c:pt>
                <c:pt idx="8">
                  <c:v>0.24572902336939234</c:v>
                </c:pt>
                <c:pt idx="9">
                  <c:v>0.15850126894474115</c:v>
                </c:pt>
                <c:pt idx="10">
                  <c:v>4.243778455336497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0882278192255596E-3</c:v>
                </c:pt>
                <c:pt idx="6">
                  <c:v>1.6922679704348721E-2</c:v>
                </c:pt>
                <c:pt idx="7">
                  <c:v>3.958883722423117E-2</c:v>
                </c:pt>
                <c:pt idx="8">
                  <c:v>3.4473442719874167E-2</c:v>
                </c:pt>
                <c:pt idx="9">
                  <c:v>8.5525735974126566E-3</c:v>
                </c:pt>
                <c:pt idx="10">
                  <c:v>7.2916193949321378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7</c:v>
                </c:pt>
                <c:pt idx="6">
                  <c:v>0.12398962027820842</c:v>
                </c:pt>
                <c:pt idx="7">
                  <c:v>0.1210615521418764</c:v>
                </c:pt>
                <c:pt idx="8">
                  <c:v>0.3262023710047276</c:v>
                </c:pt>
                <c:pt idx="9">
                  <c:v>0.10121561452946574</c:v>
                </c:pt>
                <c:pt idx="10">
                  <c:v>9.50555590826723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9629555086729643E-2</c:v>
                </c:pt>
                <c:pt idx="6">
                  <c:v>4.0721750145490329E-3</c:v>
                </c:pt>
                <c:pt idx="7">
                  <c:v>2.1327844707948126E-2</c:v>
                </c:pt>
                <c:pt idx="8">
                  <c:v>6.9933581499023234E-2</c:v>
                </c:pt>
                <c:pt idx="9">
                  <c:v>9.43198508798930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77E-3</c:v>
                </c:pt>
                <c:pt idx="1">
                  <c:v>1.6414059402893172E-2</c:v>
                </c:pt>
                <c:pt idx="2">
                  <c:v>1.8161040186737358E-2</c:v>
                </c:pt>
                <c:pt idx="3">
                  <c:v>4.1076518711765486E-2</c:v>
                </c:pt>
                <c:pt idx="4">
                  <c:v>7.1941890867163433E-2</c:v>
                </c:pt>
                <c:pt idx="5">
                  <c:v>9.2447332939716881E-2</c:v>
                </c:pt>
                <c:pt idx="6">
                  <c:v>0.10831682527395142</c:v>
                </c:pt>
                <c:pt idx="7">
                  <c:v>0.18902377510261559</c:v>
                </c:pt>
                <c:pt idx="8">
                  <c:v>0.19576873044059107</c:v>
                </c:pt>
                <c:pt idx="9">
                  <c:v>4.9546663979823755E-2</c:v>
                </c:pt>
                <c:pt idx="10">
                  <c:v>0.211159130405139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62066226389675E-2</c:v>
                </c:pt>
                <c:pt idx="1">
                  <c:v>1.1322501101184695E-2</c:v>
                </c:pt>
                <c:pt idx="2">
                  <c:v>1.391455219372234E-2</c:v>
                </c:pt>
                <c:pt idx="3">
                  <c:v>9.0043460856499752E-2</c:v>
                </c:pt>
                <c:pt idx="4">
                  <c:v>5.7044640694140274E-2</c:v>
                </c:pt>
                <c:pt idx="5">
                  <c:v>0.12465870549148711</c:v>
                </c:pt>
                <c:pt idx="6">
                  <c:v>0.11514928294657306</c:v>
                </c:pt>
                <c:pt idx="7">
                  <c:v>0.1871274516940177</c:v>
                </c:pt>
                <c:pt idx="8">
                  <c:v>0.21430449882698099</c:v>
                </c:pt>
                <c:pt idx="9">
                  <c:v>0.10899183968071161</c:v>
                </c:pt>
                <c:pt idx="10">
                  <c:v>6.38224042507857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2295290510459986E-3</c:v>
                </c:pt>
                <c:pt idx="8">
                  <c:v>9.246522701863100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1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4.1558243033905503E-3</c:v>
                </c:pt>
                <c:pt idx="8">
                  <c:v>1.198829569456491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5</c:v>
                </c:pt>
                <c:pt idx="6">
                  <c:v>0.12647657415686708</c:v>
                </c:pt>
                <c:pt idx="7">
                  <c:v>0.19717935221122623</c:v>
                </c:pt>
                <c:pt idx="8">
                  <c:v>0.14705443469514709</c:v>
                </c:pt>
                <c:pt idx="9">
                  <c:v>0.12556180470126249</c:v>
                </c:pt>
                <c:pt idx="10">
                  <c:v>0.134117996070405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1.8740610394460178E-3</c:v>
                </c:pt>
                <c:pt idx="8">
                  <c:v>1.151269219913366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5E-2</c:v>
                </c:pt>
                <c:pt idx="5">
                  <c:v>0.14762693303421914</c:v>
                </c:pt>
                <c:pt idx="6">
                  <c:v>0.13467382647792436</c:v>
                </c:pt>
                <c:pt idx="7">
                  <c:v>0.15483900827319605</c:v>
                </c:pt>
                <c:pt idx="8">
                  <c:v>0.26165380079754724</c:v>
                </c:pt>
                <c:pt idx="9">
                  <c:v>0.18614307658344179</c:v>
                </c:pt>
                <c:pt idx="10">
                  <c:v>2.043856841517618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4</c:v>
                </c:pt>
                <c:pt idx="6">
                  <c:v>0.1286472547711171</c:v>
                </c:pt>
                <c:pt idx="7">
                  <c:v>0.1797236450590925</c:v>
                </c:pt>
                <c:pt idx="8">
                  <c:v>0.24907140238754868</c:v>
                </c:pt>
                <c:pt idx="9">
                  <c:v>0.15553268833943143</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85E-2</c:v>
                </c:pt>
                <c:pt idx="5">
                  <c:v>0.15797971891225537</c:v>
                </c:pt>
                <c:pt idx="6">
                  <c:v>9.598337906718378E-2</c:v>
                </c:pt>
                <c:pt idx="7">
                  <c:v>0.21068997706434744</c:v>
                </c:pt>
                <c:pt idx="8">
                  <c:v>0.19968366113881508</c:v>
                </c:pt>
                <c:pt idx="9">
                  <c:v>0.15604544109593402</c:v>
                </c:pt>
                <c:pt idx="10">
                  <c:v>4.26984153395650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1.0253020798688324E-2</c:v>
                </c:pt>
                <c:pt idx="6">
                  <c:v>9.6238026489409297E-4</c:v>
                </c:pt>
                <c:pt idx="7">
                  <c:v>3.551266347196433E-3</c:v>
                </c:pt>
                <c:pt idx="8">
                  <c:v>1.3280811825233933E-2</c:v>
                </c:pt>
                <c:pt idx="9">
                  <c:v>1.317860316708622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E-2</c:v>
                </c:pt>
                <c:pt idx="1">
                  <c:v>2.3450659593645454E-2</c:v>
                </c:pt>
                <c:pt idx="2">
                  <c:v>4.2418163511807661E-2</c:v>
                </c:pt>
                <c:pt idx="3">
                  <c:v>2.0666175437598685E-2</c:v>
                </c:pt>
                <c:pt idx="4">
                  <c:v>5.0223009271810573E-2</c:v>
                </c:pt>
                <c:pt idx="5">
                  <c:v>7.2486072766880225E-2</c:v>
                </c:pt>
                <c:pt idx="6">
                  <c:v>0.14481255446315666</c:v>
                </c:pt>
                <c:pt idx="7">
                  <c:v>0.16464962829241298</c:v>
                </c:pt>
                <c:pt idx="8">
                  <c:v>0.37080110599668015</c:v>
                </c:pt>
                <c:pt idx="9">
                  <c:v>7.1442598795916912E-2</c:v>
                </c:pt>
                <c:pt idx="10">
                  <c:v>2.9383996426922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38E-2</c:v>
                </c:pt>
                <c:pt idx="3">
                  <c:v>2.4302963422487257E-2</c:v>
                </c:pt>
                <c:pt idx="4">
                  <c:v>6.8264835910008606E-2</c:v>
                </c:pt>
                <c:pt idx="5">
                  <c:v>8.1085129025960004E-2</c:v>
                </c:pt>
                <c:pt idx="6">
                  <c:v>0.17391019501158081</c:v>
                </c:pt>
                <c:pt idx="7">
                  <c:v>0.21549263910120092</c:v>
                </c:pt>
                <c:pt idx="8">
                  <c:v>0.18617788954780065</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165525822856861E-2</c:v>
                </c:pt>
                <c:pt idx="1">
                  <c:v>9.4537188852260035E-3</c:v>
                </c:pt>
                <c:pt idx="2">
                  <c:v>2.0219498100420973E-2</c:v>
                </c:pt>
                <c:pt idx="3">
                  <c:v>8.240412408021246E-3</c:v>
                </c:pt>
                <c:pt idx="4">
                  <c:v>5.5533695297342311E-2</c:v>
                </c:pt>
                <c:pt idx="5">
                  <c:v>9.3213785174338426E-2</c:v>
                </c:pt>
                <c:pt idx="6">
                  <c:v>0.21615012501036701</c:v>
                </c:pt>
                <c:pt idx="7">
                  <c:v>0.151632184131818</c:v>
                </c:pt>
                <c:pt idx="8">
                  <c:v>0.34844429515359976</c:v>
                </c:pt>
                <c:pt idx="9">
                  <c:v>8.2946760016009424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2137763780528942E-2</c:v>
                </c:pt>
                <c:pt idx="1">
                  <c:v>7.6010757588336045E-2</c:v>
                </c:pt>
                <c:pt idx="2">
                  <c:v>1.9801583306298543E-2</c:v>
                </c:pt>
                <c:pt idx="3">
                  <c:v>3.8623977412852312E-2</c:v>
                </c:pt>
                <c:pt idx="4">
                  <c:v>7.0418162902305612E-2</c:v>
                </c:pt>
                <c:pt idx="5">
                  <c:v>0.21572543411195483</c:v>
                </c:pt>
                <c:pt idx="6">
                  <c:v>0.35475670948466687</c:v>
                </c:pt>
                <c:pt idx="7">
                  <c:v>0.11896334298735282</c:v>
                </c:pt>
                <c:pt idx="8">
                  <c:v>3.931459111135447E-2</c:v>
                </c:pt>
                <c:pt idx="9">
                  <c:v>2.424767731434951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4077995271416671E-2</c:v>
                </c:pt>
                <c:pt idx="1">
                  <c:v>2.062966834660215E-2</c:v>
                </c:pt>
                <c:pt idx="2">
                  <c:v>8.0083321202325142E-2</c:v>
                </c:pt>
                <c:pt idx="3">
                  <c:v>2.8380127651671069E-2</c:v>
                </c:pt>
                <c:pt idx="4">
                  <c:v>0.14083598542271128</c:v>
                </c:pt>
                <c:pt idx="5">
                  <c:v>0.28115211531318079</c:v>
                </c:pt>
                <c:pt idx="6">
                  <c:v>0.22040258842250043</c:v>
                </c:pt>
                <c:pt idx="7">
                  <c:v>7.644417561014788E-2</c:v>
                </c:pt>
                <c:pt idx="8">
                  <c:v>8.2955703414418672E-2</c:v>
                </c:pt>
                <c:pt idx="9">
                  <c:v>1.503831934502595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986770156853E-2</c:v>
                </c:pt>
                <c:pt idx="1">
                  <c:v>1.9837674558354175E-2</c:v>
                </c:pt>
                <c:pt idx="2">
                  <c:v>2.0649080415175616E-2</c:v>
                </c:pt>
                <c:pt idx="3">
                  <c:v>3.8118183467068141E-2</c:v>
                </c:pt>
                <c:pt idx="4">
                  <c:v>6.1661417397453615E-2</c:v>
                </c:pt>
                <c:pt idx="5">
                  <c:v>9.9246828777930327E-2</c:v>
                </c:pt>
                <c:pt idx="6">
                  <c:v>0.13320160439496909</c:v>
                </c:pt>
                <c:pt idx="7">
                  <c:v>0.17855094253158701</c:v>
                </c:pt>
                <c:pt idx="8">
                  <c:v>0.24422796421949797</c:v>
                </c:pt>
                <c:pt idx="9">
                  <c:v>9.5230577342037964E-2</c:v>
                </c:pt>
                <c:pt idx="10">
                  <c:v>9.258585919435757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0379942463993448E-2</c:v>
                </c:pt>
                <c:pt idx="1">
                  <c:v>9.152991779240488E-2</c:v>
                </c:pt>
                <c:pt idx="2">
                  <c:v>4.8661682695440873E-3</c:v>
                </c:pt>
                <c:pt idx="3">
                  <c:v>4.1438958765861969E-2</c:v>
                </c:pt>
                <c:pt idx="4">
                  <c:v>0.12055059537663741</c:v>
                </c:pt>
                <c:pt idx="5">
                  <c:v>0.23404232341194106</c:v>
                </c:pt>
                <c:pt idx="6">
                  <c:v>0.1719810820120844</c:v>
                </c:pt>
                <c:pt idx="7">
                  <c:v>0.22892217743061699</c:v>
                </c:pt>
                <c:pt idx="8">
                  <c:v>4.438874975561162E-2</c:v>
                </c:pt>
                <c:pt idx="9">
                  <c:v>3.190008472130415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4580878578177295E-3</c:v>
                </c:pt>
                <c:pt idx="3">
                  <c:v>6.8898226340421672E-4</c:v>
                </c:pt>
                <c:pt idx="4">
                  <c:v>1.0002568881030992E-3</c:v>
                </c:pt>
                <c:pt idx="5">
                  <c:v>2.6683789960321833E-3</c:v>
                </c:pt>
                <c:pt idx="7">
                  <c:v>6.4898053681387586E-3</c:v>
                </c:pt>
                <c:pt idx="8">
                  <c:v>6.9492715664303852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6126010037809816E-3</c:v>
                </c:pt>
                <c:pt idx="3">
                  <c:v>7.197671426231757E-4</c:v>
                </c:pt>
                <c:pt idx="4">
                  <c:v>1.0449500378745325E-3</c:v>
                </c:pt>
                <c:pt idx="5">
                  <c:v>2.7876066299880723E-3</c:v>
                </c:pt>
                <c:pt idx="7">
                  <c:v>6.7797807202262927E-3</c:v>
                </c:pt>
                <c:pt idx="8">
                  <c:v>7.2597766362928213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8E-2</c:v>
                </c:pt>
                <c:pt idx="2">
                  <c:v>3.3618921453349222E-2</c:v>
                </c:pt>
                <c:pt idx="3">
                  <c:v>4.3193698660743136E-2</c:v>
                </c:pt>
                <c:pt idx="4">
                  <c:v>6.0866470201537938E-2</c:v>
                </c:pt>
                <c:pt idx="5">
                  <c:v>0.11629275414523581</c:v>
                </c:pt>
                <c:pt idx="6">
                  <c:v>0.14114999538782796</c:v>
                </c:pt>
                <c:pt idx="7">
                  <c:v>0.18708207317322251</c:v>
                </c:pt>
                <c:pt idx="8">
                  <c:v>0.19672272953911327</c:v>
                </c:pt>
                <c:pt idx="9">
                  <c:v>0.14353338057932885</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0265745294642621E-3</c:v>
                </c:pt>
                <c:pt idx="3">
                  <c:v>3.4725365029936576E-3</c:v>
                </c:pt>
                <c:pt idx="4">
                  <c:v>1.8439494441048283E-3</c:v>
                </c:pt>
                <c:pt idx="5">
                  <c:v>2.2671840543629514E-3</c:v>
                </c:pt>
                <c:pt idx="6">
                  <c:v>2.5051656416924775E-3</c:v>
                </c:pt>
                <c:pt idx="7">
                  <c:v>6.0241573619378257E-3</c:v>
                </c:pt>
                <c:pt idx="8">
                  <c:v>7.141709990768625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2252761138651E-2</c:v>
                </c:pt>
                <c:pt idx="1">
                  <c:v>1.2001151939103054E-2</c:v>
                </c:pt>
                <c:pt idx="2">
                  <c:v>1.4271461085164992E-2</c:v>
                </c:pt>
                <c:pt idx="3">
                  <c:v>7.3545625941690701E-2</c:v>
                </c:pt>
                <c:pt idx="4">
                  <c:v>5.4250404213041364E-2</c:v>
                </c:pt>
                <c:pt idx="5">
                  <c:v>0.12550902281882184</c:v>
                </c:pt>
                <c:pt idx="6">
                  <c:v>0.1211517910584342</c:v>
                </c:pt>
                <c:pt idx="7">
                  <c:v>0.187042554643229</c:v>
                </c:pt>
                <c:pt idx="8">
                  <c:v>0.21492993040072444</c:v>
                </c:pt>
                <c:pt idx="9">
                  <c:v>0.11520676347948282</c:v>
                </c:pt>
                <c:pt idx="10">
                  <c:v>6.766876680892111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3718462740121953E-3</c:v>
                </c:pt>
                <c:pt idx="2">
                  <c:v>8.9954374743274682E-4</c:v>
                </c:pt>
                <c:pt idx="5">
                  <c:v>5.8715808700702046E-3</c:v>
                </c:pt>
                <c:pt idx="6">
                  <c:v>8.6349960236895798E-4</c:v>
                </c:pt>
                <c:pt idx="7">
                  <c:v>7.3904714729586662E-3</c:v>
                </c:pt>
                <c:pt idx="8">
                  <c:v>7.8400447642725003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702</c:v>
                </c:pt>
                <c:pt idx="5">
                  <c:v>9.5015674280341231E-2</c:v>
                </c:pt>
                <c:pt idx="6">
                  <c:v>1.7766219714730622E-2</c:v>
                </c:pt>
                <c:pt idx="7">
                  <c:v>0.15861178296232292</c:v>
                </c:pt>
                <c:pt idx="8">
                  <c:v>0.20674302461709723</c:v>
                </c:pt>
                <c:pt idx="9">
                  <c:v>9.640032498460066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796E-2</c:v>
                </c:pt>
                <c:pt idx="7">
                  <c:v>0.11515289447697061</c:v>
                </c:pt>
                <c:pt idx="8">
                  <c:v>0.1802110412061716</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8E-2</c:v>
                </c:pt>
                <c:pt idx="1">
                  <c:v>2.5712148835382798E-2</c:v>
                </c:pt>
                <c:pt idx="2">
                  <c:v>3.3589224880169175E-2</c:v>
                </c:pt>
                <c:pt idx="3">
                  <c:v>4.7555465818613675E-2</c:v>
                </c:pt>
                <c:pt idx="4">
                  <c:v>7.2169314610381535E-2</c:v>
                </c:pt>
                <c:pt idx="5">
                  <c:v>0.11538975237199359</c:v>
                </c:pt>
                <c:pt idx="6">
                  <c:v>0.13910064653920554</c:v>
                </c:pt>
                <c:pt idx="7">
                  <c:v>0.18415888055193388</c:v>
                </c:pt>
                <c:pt idx="8">
                  <c:v>0.19567579739573698</c:v>
                </c:pt>
                <c:pt idx="9">
                  <c:v>0.1373325993517957</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986770156853E-2</c:v>
                </c:pt>
                <c:pt idx="1">
                  <c:v>1.9837674558354175E-2</c:v>
                </c:pt>
                <c:pt idx="2">
                  <c:v>2.0649080415175616E-2</c:v>
                </c:pt>
                <c:pt idx="3">
                  <c:v>3.8118183467068141E-2</c:v>
                </c:pt>
                <c:pt idx="4">
                  <c:v>6.1661417397453615E-2</c:v>
                </c:pt>
                <c:pt idx="5">
                  <c:v>9.9246828777930327E-2</c:v>
                </c:pt>
                <c:pt idx="6">
                  <c:v>0.13320160439496909</c:v>
                </c:pt>
                <c:pt idx="7">
                  <c:v>0.17855094253158701</c:v>
                </c:pt>
                <c:pt idx="8">
                  <c:v>0.24422796421949797</c:v>
                </c:pt>
                <c:pt idx="9">
                  <c:v>9.5230577342037964E-2</c:v>
                </c:pt>
                <c:pt idx="10">
                  <c:v>9.258585919435757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3965064768305756E-3</c:v>
                </c:pt>
                <c:pt idx="4">
                  <c:v>4.1201244268526099E-3</c:v>
                </c:pt>
                <c:pt idx="5">
                  <c:v>4.3485091217954379E-3</c:v>
                </c:pt>
                <c:pt idx="6">
                  <c:v>2.3665186258716741E-3</c:v>
                </c:pt>
                <c:pt idx="7">
                  <c:v>7.3873834170765399E-3</c:v>
                </c:pt>
                <c:pt idx="8">
                  <c:v>1.8716614222395156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8E-2</c:v>
                </c:pt>
                <c:pt idx="2">
                  <c:v>3.3618921453349222E-2</c:v>
                </c:pt>
                <c:pt idx="3">
                  <c:v>4.3193698660743136E-2</c:v>
                </c:pt>
                <c:pt idx="4">
                  <c:v>6.0866470201537938E-2</c:v>
                </c:pt>
                <c:pt idx="5">
                  <c:v>0.11629275414523581</c:v>
                </c:pt>
                <c:pt idx="6">
                  <c:v>0.14114999538782796</c:v>
                </c:pt>
                <c:pt idx="7">
                  <c:v>0.18708207317322251</c:v>
                </c:pt>
                <c:pt idx="8">
                  <c:v>0.19672272953911327</c:v>
                </c:pt>
                <c:pt idx="9">
                  <c:v>0.14353338057932885</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8805964401529397E-3</c:v>
                </c:pt>
                <c:pt idx="3">
                  <c:v>3.305048724703075E-3</c:v>
                </c:pt>
                <c:pt idx="4">
                  <c:v>1.7550118633459153E-3</c:v>
                </c:pt>
                <c:pt idx="5">
                  <c:v>2.1578329734128375E-3</c:v>
                </c:pt>
                <c:pt idx="6">
                  <c:v>2.3843362055684073E-3</c:v>
                </c:pt>
                <c:pt idx="7">
                  <c:v>5.7335995141645935E-3</c:v>
                </c:pt>
                <c:pt idx="8">
                  <c:v>6.7972502166184327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3350570736685104E-3</c:v>
                </c:pt>
                <c:pt idx="4">
                  <c:v>7.9841907685930073E-3</c:v>
                </c:pt>
                <c:pt idx="5">
                  <c:v>3.7744728815551137E-3</c:v>
                </c:pt>
                <c:pt idx="6">
                  <c:v>3.4438242223271344E-3</c:v>
                </c:pt>
                <c:pt idx="7">
                  <c:v>4.3662901763043098E-3</c:v>
                </c:pt>
                <c:pt idx="8">
                  <c:v>1.9560900311123767E-3</c:v>
                </c:pt>
                <c:pt idx="9">
                  <c:v>1.514098473415222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2252761138651E-2</c:v>
                </c:pt>
                <c:pt idx="1">
                  <c:v>1.2001151939103054E-2</c:v>
                </c:pt>
                <c:pt idx="2">
                  <c:v>1.4271461085164992E-2</c:v>
                </c:pt>
                <c:pt idx="3">
                  <c:v>7.3545625941690701E-2</c:v>
                </c:pt>
                <c:pt idx="4">
                  <c:v>5.4250404213041364E-2</c:v>
                </c:pt>
                <c:pt idx="5">
                  <c:v>0.12550902281882184</c:v>
                </c:pt>
                <c:pt idx="6">
                  <c:v>0.1211517910584342</c:v>
                </c:pt>
                <c:pt idx="7">
                  <c:v>0.187042554643229</c:v>
                </c:pt>
                <c:pt idx="8">
                  <c:v>0.21492993040072444</c:v>
                </c:pt>
                <c:pt idx="9">
                  <c:v>0.11520676347948282</c:v>
                </c:pt>
                <c:pt idx="10">
                  <c:v>6.766876680892111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1.0817790768354225E-3</c:v>
                </c:pt>
                <c:pt idx="3">
                  <c:v>8.8169838445905403E-3</c:v>
                </c:pt>
                <c:pt idx="4">
                  <c:v>1.0103084067598002E-2</c:v>
                </c:pt>
                <c:pt idx="6">
                  <c:v>1.1139551820584471E-3</c:v>
                </c:pt>
                <c:pt idx="7">
                  <c:v>1.0905144001424821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702</c:v>
                </c:pt>
                <c:pt idx="5">
                  <c:v>9.5015674280341231E-2</c:v>
                </c:pt>
                <c:pt idx="6">
                  <c:v>1.7766219714730622E-2</c:v>
                </c:pt>
                <c:pt idx="7">
                  <c:v>0.15861178296232292</c:v>
                </c:pt>
                <c:pt idx="8">
                  <c:v>0.20674302461709723</c:v>
                </c:pt>
                <c:pt idx="9">
                  <c:v>9.640032498460066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796E-2</c:v>
                </c:pt>
                <c:pt idx="7">
                  <c:v>0.11515289447697061</c:v>
                </c:pt>
                <c:pt idx="8">
                  <c:v>0.1802110412061716</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62066226389675E-2</c:v>
                </c:pt>
                <c:pt idx="1">
                  <c:v>1.1322501101184695E-2</c:v>
                </c:pt>
                <c:pt idx="2">
                  <c:v>1.391455219372234E-2</c:v>
                </c:pt>
                <c:pt idx="3">
                  <c:v>9.0043460856499752E-2</c:v>
                </c:pt>
                <c:pt idx="4">
                  <c:v>5.7044640694140274E-2</c:v>
                </c:pt>
                <c:pt idx="5">
                  <c:v>0.12465870549148711</c:v>
                </c:pt>
                <c:pt idx="6">
                  <c:v>0.11514928294657306</c:v>
                </c:pt>
                <c:pt idx="7">
                  <c:v>0.1871274516940177</c:v>
                </c:pt>
                <c:pt idx="8">
                  <c:v>0.21430449882698099</c:v>
                </c:pt>
                <c:pt idx="9">
                  <c:v>0.10899183968071161</c:v>
                </c:pt>
                <c:pt idx="10">
                  <c:v>6.38224042507857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68986770156853E-2</c:v>
                </c:pt>
                <c:pt idx="1">
                  <c:v>1.9837674558354175E-2</c:v>
                </c:pt>
                <c:pt idx="2">
                  <c:v>2.0649080415175616E-2</c:v>
                </c:pt>
                <c:pt idx="3">
                  <c:v>3.8118183467068141E-2</c:v>
                </c:pt>
                <c:pt idx="4">
                  <c:v>6.1661417397453615E-2</c:v>
                </c:pt>
                <c:pt idx="5">
                  <c:v>9.9246828777930327E-2</c:v>
                </c:pt>
                <c:pt idx="6">
                  <c:v>0.13320160439496909</c:v>
                </c:pt>
                <c:pt idx="7">
                  <c:v>0.17855094253158701</c:v>
                </c:pt>
                <c:pt idx="8">
                  <c:v>0.24422796421949797</c:v>
                </c:pt>
                <c:pt idx="9">
                  <c:v>9.5230577342037964E-2</c:v>
                </c:pt>
                <c:pt idx="10">
                  <c:v>9.258585919435757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2.4526051089272969E-3</c:v>
                </c:pt>
                <c:pt idx="7">
                  <c:v>4.469273223472992E-3</c:v>
                </c:pt>
                <c:pt idx="8">
                  <c:v>8.2921872706385336E-3</c:v>
                </c:pt>
                <c:pt idx="9">
                  <c:v>8.1804332472673461E-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076700754436693E-2</c:v>
                </c:pt>
                <c:pt idx="1">
                  <c:v>2.6808770478219598E-2</c:v>
                </c:pt>
                <c:pt idx="2">
                  <c:v>3.3618921453349222E-2</c:v>
                </c:pt>
                <c:pt idx="3">
                  <c:v>4.3193698660743136E-2</c:v>
                </c:pt>
                <c:pt idx="4">
                  <c:v>6.0866470201537938E-2</c:v>
                </c:pt>
                <c:pt idx="5">
                  <c:v>0.11629275414523581</c:v>
                </c:pt>
                <c:pt idx="6">
                  <c:v>0.14114999538782796</c:v>
                </c:pt>
                <c:pt idx="7">
                  <c:v>0.18708207317322251</c:v>
                </c:pt>
                <c:pt idx="8">
                  <c:v>0.19672272953911327</c:v>
                </c:pt>
                <c:pt idx="9">
                  <c:v>0.14353338057932885</c:v>
                </c:pt>
                <c:pt idx="10">
                  <c:v>2.6654505626985084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2620463993700407E-3</c:v>
                </c:pt>
                <c:pt idx="7">
                  <c:v>6.7875633200204372E-3</c:v>
                </c:pt>
                <c:pt idx="8">
                  <c:v>8.9228132955084145E-3</c:v>
                </c:pt>
                <c:pt idx="9">
                  <c:v>1.1432183702208248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442252761138651E-2</c:v>
                </c:pt>
                <c:pt idx="1">
                  <c:v>1.2001151939103054E-2</c:v>
                </c:pt>
                <c:pt idx="2">
                  <c:v>1.4271461085164992E-2</c:v>
                </c:pt>
                <c:pt idx="3">
                  <c:v>7.3545625941690701E-2</c:v>
                </c:pt>
                <c:pt idx="4">
                  <c:v>5.4250404213041364E-2</c:v>
                </c:pt>
                <c:pt idx="5">
                  <c:v>0.12550902281882184</c:v>
                </c:pt>
                <c:pt idx="6">
                  <c:v>0.1211517910584342</c:v>
                </c:pt>
                <c:pt idx="7">
                  <c:v>0.187042554643229</c:v>
                </c:pt>
                <c:pt idx="8">
                  <c:v>0.21492993040072444</c:v>
                </c:pt>
                <c:pt idx="9">
                  <c:v>0.11520676347948282</c:v>
                </c:pt>
                <c:pt idx="10">
                  <c:v>6.7668766808921116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4.1233460188536027E-3</c:v>
                </c:pt>
                <c:pt idx="2">
                  <c:v>8.4841275225294439E-4</c:v>
                </c:pt>
                <c:pt idx="5">
                  <c:v>5.5378341523344725E-3</c:v>
                </c:pt>
                <c:pt idx="6">
                  <c:v>8.1441739360201926E-4</c:v>
                </c:pt>
                <c:pt idx="7">
                  <c:v>6.9703894454433016E-3</c:v>
                </c:pt>
                <c:pt idx="8">
                  <c:v>7.394408526795986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4.3894136216223335E-3</c:v>
                </c:pt>
                <c:pt idx="6">
                  <c:v>7.2094621740412322E-4</c:v>
                </c:pt>
                <c:pt idx="7">
                  <c:v>3.765289276482342E-3</c:v>
                </c:pt>
                <c:pt idx="8">
                  <c:v>1.4081201875497398E-2</c:v>
                </c:pt>
                <c:pt idx="9">
                  <c:v>1.3972833443827652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8097551613754901E-2</c:v>
                </c:pt>
                <c:pt idx="1">
                  <c:v>1.1038120023828693E-3</c:v>
                </c:pt>
                <c:pt idx="2">
                  <c:v>1.5282875797082282E-3</c:v>
                </c:pt>
                <c:pt idx="3">
                  <c:v>0.24074556770459496</c:v>
                </c:pt>
                <c:pt idx="4">
                  <c:v>0.25074804702660702</c:v>
                </c:pt>
                <c:pt idx="5">
                  <c:v>9.5015674280341231E-2</c:v>
                </c:pt>
                <c:pt idx="6">
                  <c:v>1.7766219714730622E-2</c:v>
                </c:pt>
                <c:pt idx="7">
                  <c:v>0.15861178296232292</c:v>
                </c:pt>
                <c:pt idx="8">
                  <c:v>0.20674302461709723</c:v>
                </c:pt>
                <c:pt idx="9">
                  <c:v>9.6400324984600664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8.8098764401118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46815577936997E-2</c:v>
                </c:pt>
                <c:pt idx="1">
                  <c:v>4.444336608054893E-3</c:v>
                </c:pt>
                <c:pt idx="2">
                  <c:v>3.6017149221030359E-2</c:v>
                </c:pt>
                <c:pt idx="3">
                  <c:v>0.14561464720112</c:v>
                </c:pt>
                <c:pt idx="4">
                  <c:v>0.31870308409378206</c:v>
                </c:pt>
                <c:pt idx="5">
                  <c:v>8.3049979740238325E-2</c:v>
                </c:pt>
                <c:pt idx="6">
                  <c:v>7.8023811892358796E-2</c:v>
                </c:pt>
                <c:pt idx="7">
                  <c:v>0.11515289447697061</c:v>
                </c:pt>
                <c:pt idx="8">
                  <c:v>0.1802110412061716</c:v>
                </c:pt>
                <c:pt idx="9">
                  <c:v>1.543623998233640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4">
                  <c:v>1.9428990141866858E-3</c:v>
                </c:pt>
                <c:pt idx="5">
                  <c:v>7.6898970512948056E-2</c:v>
                </c:pt>
                <c:pt idx="6">
                  <c:v>2.11892358794313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8.3531651380679903E-3</c:v>
                </c:pt>
                <c:pt idx="3">
                  <c:v>0.38021225596049668</c:v>
                </c:pt>
                <c:pt idx="4">
                  <c:v>0.10773548689713384</c:v>
                </c:pt>
                <c:pt idx="5">
                  <c:v>0.11240208748273982</c:v>
                </c:pt>
                <c:pt idx="6">
                  <c:v>5.7039334901111492E-3</c:v>
                </c:pt>
                <c:pt idx="7">
                  <c:v>0.18405881254330331</c:v>
                </c:pt>
                <c:pt idx="8">
                  <c:v>0.2011401678119552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5">
                  <c:v>0.11240208748273982</c:v>
                </c:pt>
                <c:pt idx="6">
                  <c:v>5.192753562862204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6704377507072776E-2</c:v>
                </c:pt>
                <c:pt idx="1">
                  <c:v>1.9033626479877733E-2</c:v>
                </c:pt>
                <c:pt idx="2">
                  <c:v>1.9827508280769839E-2</c:v>
                </c:pt>
                <c:pt idx="3">
                  <c:v>4.6176309521501771E-2</c:v>
                </c:pt>
                <c:pt idx="4">
                  <c:v>6.9141447185096516E-2</c:v>
                </c:pt>
                <c:pt idx="5">
                  <c:v>9.9088582204497205E-2</c:v>
                </c:pt>
                <c:pt idx="6">
                  <c:v>0.12890045057876501</c:v>
                </c:pt>
                <c:pt idx="7">
                  <c:v>0.17819960100478047</c:v>
                </c:pt>
                <c:pt idx="8">
                  <c:v>0.24263268612335279</c:v>
                </c:pt>
                <c:pt idx="9">
                  <c:v>9.1669505526999359E-2</c:v>
                </c:pt>
                <c:pt idx="10">
                  <c:v>8.8625905587286558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9714416230522547E-2</c:v>
                </c:pt>
                <c:pt idx="1">
                  <c:v>2.2345770538797674E-2</c:v>
                </c:pt>
                <c:pt idx="2">
                  <c:v>3.4290183944523427E-2</c:v>
                </c:pt>
                <c:pt idx="3">
                  <c:v>8.0807880654489975E-2</c:v>
                </c:pt>
                <c:pt idx="4">
                  <c:v>0.16453614933211275</c:v>
                </c:pt>
                <c:pt idx="5">
                  <c:v>0.12102190703651872</c:v>
                </c:pt>
                <c:pt idx="6">
                  <c:v>6.8379321560170542E-2</c:v>
                </c:pt>
                <c:pt idx="7">
                  <c:v>0.27703323856372303</c:v>
                </c:pt>
                <c:pt idx="8">
                  <c:v>0.16530007726544974</c:v>
                </c:pt>
                <c:pt idx="9">
                  <c:v>4.2694142118576014E-2</c:v>
                </c:pt>
                <c:pt idx="10">
                  <c:v>3.8769127551155761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3.4267255754208456E-2</c:v>
                </c:pt>
                <c:pt idx="3">
                  <c:v>6.8273370720791371E-3</c:v>
                </c:pt>
                <c:pt idx="4">
                  <c:v>9.9118530279817454E-3</c:v>
                </c:pt>
                <c:pt idx="5">
                  <c:v>2.6441787850900917E-2</c:v>
                </c:pt>
                <c:pt idx="7">
                  <c:v>6.4171820023489701E-2</c:v>
                </c:pt>
                <c:pt idx="8">
                  <c:v>6.276456862498126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805477649151867E-2</c:v>
                </c:pt>
                <c:pt idx="1">
                  <c:v>4.5407020016068167E-2</c:v>
                </c:pt>
                <c:pt idx="2">
                  <c:v>3.4094052235638918E-2</c:v>
                </c:pt>
                <c:pt idx="3">
                  <c:v>0.10811884818817145</c:v>
                </c:pt>
                <c:pt idx="4">
                  <c:v>0.16540679175863299</c:v>
                </c:pt>
                <c:pt idx="5">
                  <c:v>9.9729932584249212E-2</c:v>
                </c:pt>
                <c:pt idx="6">
                  <c:v>9.5739273110062556E-2</c:v>
                </c:pt>
                <c:pt idx="7">
                  <c:v>0.19579893844579263</c:v>
                </c:pt>
                <c:pt idx="8">
                  <c:v>0.18662621492811068</c:v>
                </c:pt>
                <c:pt idx="9">
                  <c:v>2.094787125337853E-2</c:v>
                </c:pt>
                <c:pt idx="10">
                  <c:v>1.1325579830742977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2">
                  <c:v>2.7770080751443327E-2</c:v>
                </c:pt>
                <c:pt idx="3">
                  <c:v>3.1861967436016901E-2</c:v>
                </c:pt>
                <c:pt idx="4">
                  <c:v>1.691900346938896E-2</c:v>
                </c:pt>
                <c:pt idx="5">
                  <c:v>2.0802357138447355E-2</c:v>
                </c:pt>
                <c:pt idx="6">
                  <c:v>1.7400080824634567E-2</c:v>
                </c:pt>
                <c:pt idx="7">
                  <c:v>5.1980627394506297E-2</c:v>
                </c:pt>
                <c:pt idx="8">
                  <c:v>6.171832941525862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1.763736145551981E-2</c:v>
                </c:pt>
                <c:pt idx="3">
                  <c:v>0.22477381694972196</c:v>
                </c:pt>
                <c:pt idx="4">
                  <c:v>0.11083399654413399</c:v>
                </c:pt>
                <c:pt idx="5">
                  <c:v>0.10979447122894243</c:v>
                </c:pt>
                <c:pt idx="6">
                  <c:v>1.7616876179823847E-2</c:v>
                </c:pt>
                <c:pt idx="7">
                  <c:v>0.22932390396093047</c:v>
                </c:pt>
                <c:pt idx="8">
                  <c:v>0.16853226072429789</c:v>
                </c:pt>
                <c:pt idx="9">
                  <c:v>8.2145443408913763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3.8897799983816629E-2</c:v>
                </c:pt>
                <c:pt idx="2">
                  <c:v>8.0035460012229716E-3</c:v>
                </c:pt>
                <c:pt idx="4">
                  <c:v>7.4648344636084199E-4</c:v>
                </c:pt>
                <c:pt idx="5">
                  <c:v>5.2241447653462884E-2</c:v>
                </c:pt>
                <c:pt idx="6">
                  <c:v>7.6509944064954713E-3</c:v>
                </c:pt>
                <c:pt idx="7">
                  <c:v>6.4911846737361348E-2</c:v>
                </c:pt>
                <c:pt idx="8">
                  <c:v>6.1714556119924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1.2574445260241806E-2</c:v>
                </c:pt>
                <c:pt idx="2">
                  <c:v>7.6663425080420455E-3</c:v>
                </c:pt>
                <c:pt idx="3">
                  <c:v>5.7978765788628567E-2</c:v>
                </c:pt>
                <c:pt idx="4">
                  <c:v>2.3980990241791268E-2</c:v>
                </c:pt>
                <c:pt idx="5">
                  <c:v>2.1307474066270562E-2</c:v>
                </c:pt>
                <c:pt idx="6">
                  <c:v>0.18064157338881034</c:v>
                </c:pt>
                <c:pt idx="7">
                  <c:v>0.14442246881480472</c:v>
                </c:pt>
                <c:pt idx="8">
                  <c:v>0.30330573706980096</c:v>
                </c:pt>
                <c:pt idx="9">
                  <c:v>0.14396439387256088</c:v>
                </c:pt>
                <c:pt idx="10">
                  <c:v>0.1040218862058693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3">
                  <c:v>7.0801533883836261E-3</c:v>
                </c:pt>
                <c:pt idx="4">
                  <c:v>3.9439041948682993E-3</c:v>
                </c:pt>
                <c:pt idx="5">
                  <c:v>4.1625207372616088E-3</c:v>
                </c:pt>
                <c:pt idx="6">
                  <c:v>2.2653011824060481E-3</c:v>
                </c:pt>
                <c:pt idx="7">
                  <c:v>7.0714205274536321E-3</c:v>
                </c:pt>
                <c:pt idx="8">
                  <c:v>1.791609322872437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2.3065561311657662E-3</c:v>
                </c:pt>
                <c:pt idx="8">
                  <c:v>4.7859524859267134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2.7505558144520048E-2</c:v>
                </c:pt>
                <c:pt idx="2">
                  <c:v>4.4503254509310457E-3</c:v>
                </c:pt>
                <c:pt idx="3">
                  <c:v>6.4716249229014172E-2</c:v>
                </c:pt>
                <c:pt idx="4">
                  <c:v>2.4844439046991046E-2</c:v>
                </c:pt>
                <c:pt idx="5">
                  <c:v>6.5073631970893664E-2</c:v>
                </c:pt>
                <c:pt idx="6">
                  <c:v>0.12226394010157357</c:v>
                </c:pt>
                <c:pt idx="7">
                  <c:v>0.24437305930213671</c:v>
                </c:pt>
                <c:pt idx="8">
                  <c:v>0.24572902336939234</c:v>
                </c:pt>
                <c:pt idx="9">
                  <c:v>0.15850126894474115</c:v>
                </c:pt>
                <c:pt idx="10">
                  <c:v>4.2437784553364971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6">
                  <c:v>4.5544047456652003E-3</c:v>
                </c:pt>
                <c:pt idx="7">
                  <c:v>2.6853604363414013E-3</c:v>
                </c:pt>
                <c:pt idx="8">
                  <c:v>3.1063303339930529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1">
                  <c:v>5.9436752523768597E-3</c:v>
                </c:pt>
                <c:pt idx="2">
                  <c:v>4.2520320660761161E-3</c:v>
                </c:pt>
                <c:pt idx="3">
                  <c:v>8.4944165828123794E-2</c:v>
                </c:pt>
                <c:pt idx="4">
                  <c:v>2.7677276536064312E-2</c:v>
                </c:pt>
                <c:pt idx="5">
                  <c:v>0.10953939421161027</c:v>
                </c:pt>
                <c:pt idx="6">
                  <c:v>0.12398962027820842</c:v>
                </c:pt>
                <c:pt idx="7">
                  <c:v>0.1210615521418764</c:v>
                </c:pt>
                <c:pt idx="8">
                  <c:v>0.3262023710047276</c:v>
                </c:pt>
                <c:pt idx="9">
                  <c:v>0.10121561452946574</c:v>
                </c:pt>
                <c:pt idx="10">
                  <c:v>9.5055559082672311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7">
                  <c:v>6.4008750634201065E-4</c:v>
                </c:pt>
                <c:pt idx="8">
                  <c:v>6.1005304947650291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6.1440326896023377E-3</c:v>
                </c:pt>
                <c:pt idx="1">
                  <c:v>1.6414059402893172E-2</c:v>
                </c:pt>
                <c:pt idx="2">
                  <c:v>1.8161040186737358E-2</c:v>
                </c:pt>
                <c:pt idx="3">
                  <c:v>4.1076518711765486E-2</c:v>
                </c:pt>
                <c:pt idx="4">
                  <c:v>7.1941890867163433E-2</c:v>
                </c:pt>
                <c:pt idx="5">
                  <c:v>9.2447332939716881E-2</c:v>
                </c:pt>
                <c:pt idx="6">
                  <c:v>0.10831682527395142</c:v>
                </c:pt>
                <c:pt idx="7">
                  <c:v>0.18902377510261559</c:v>
                </c:pt>
                <c:pt idx="8">
                  <c:v>0.19576873044059107</c:v>
                </c:pt>
                <c:pt idx="9">
                  <c:v>4.9546663979823755E-2</c:v>
                </c:pt>
                <c:pt idx="10">
                  <c:v>0.211159130405139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1.3549127697873031E-2</c:v>
                </c:pt>
                <c:pt idx="1">
                  <c:v>1.8015538173938125E-2</c:v>
                </c:pt>
                <c:pt idx="2">
                  <c:v>4.8921228940550794E-2</c:v>
                </c:pt>
                <c:pt idx="3">
                  <c:v>4.0205132124715194E-2</c:v>
                </c:pt>
                <c:pt idx="4">
                  <c:v>3.5086445608214598E-2</c:v>
                </c:pt>
                <c:pt idx="5">
                  <c:v>0.12366001487517939</c:v>
                </c:pt>
                <c:pt idx="6">
                  <c:v>0.14971069932300879</c:v>
                </c:pt>
                <c:pt idx="7">
                  <c:v>0.1647679430192327</c:v>
                </c:pt>
                <c:pt idx="8">
                  <c:v>0.16299902679493175</c:v>
                </c:pt>
                <c:pt idx="9">
                  <c:v>0.19665703144981761</c:v>
                </c:pt>
                <c:pt idx="10">
                  <c:v>4.6427811992538016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6872184253652326E-3</c:v>
                </c:pt>
                <c:pt idx="1">
                  <c:v>6.4377750810823645E-3</c:v>
                </c:pt>
                <c:pt idx="2">
                  <c:v>2.3401097734032036E-2</c:v>
                </c:pt>
                <c:pt idx="3">
                  <c:v>9.0467878237250693E-2</c:v>
                </c:pt>
                <c:pt idx="4">
                  <c:v>2.6029595140876296E-2</c:v>
                </c:pt>
                <c:pt idx="5">
                  <c:v>0.11858627354648475</c:v>
                </c:pt>
                <c:pt idx="6">
                  <c:v>0.12647657415686708</c:v>
                </c:pt>
                <c:pt idx="7">
                  <c:v>0.19717935221122623</c:v>
                </c:pt>
                <c:pt idx="8">
                  <c:v>0.14705443469514709</c:v>
                </c:pt>
                <c:pt idx="9">
                  <c:v>0.12556180470126249</c:v>
                </c:pt>
                <c:pt idx="10">
                  <c:v>0.1341179960704057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947267185702188E-2</c:v>
                </c:pt>
                <c:pt idx="1">
                  <c:v>2.5712148835382798E-2</c:v>
                </c:pt>
                <c:pt idx="2">
                  <c:v>3.3589224880169175E-2</c:v>
                </c:pt>
                <c:pt idx="3">
                  <c:v>4.7555465818613675E-2</c:v>
                </c:pt>
                <c:pt idx="4">
                  <c:v>7.2169314610381535E-2</c:v>
                </c:pt>
                <c:pt idx="5">
                  <c:v>0.11538975237199359</c:v>
                </c:pt>
                <c:pt idx="6">
                  <c:v>0.13910064653920554</c:v>
                </c:pt>
                <c:pt idx="7">
                  <c:v>0.18415888055193388</c:v>
                </c:pt>
                <c:pt idx="8">
                  <c:v>0.19567579739573698</c:v>
                </c:pt>
                <c:pt idx="9">
                  <c:v>0.1373325993517957</c:v>
                </c:pt>
                <c:pt idx="10">
                  <c:v>2.536890245908493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4366118400716372E-2</c:v>
                </c:pt>
                <c:pt idx="1">
                  <c:v>1.7979971027474409E-2</c:v>
                </c:pt>
                <c:pt idx="2">
                  <c:v>1.1086532584295801E-2</c:v>
                </c:pt>
                <c:pt idx="3">
                  <c:v>1.3960396047619254E-2</c:v>
                </c:pt>
                <c:pt idx="4">
                  <c:v>2.7231768358389325E-2</c:v>
                </c:pt>
                <c:pt idx="5">
                  <c:v>0.14762693303421914</c:v>
                </c:pt>
                <c:pt idx="6">
                  <c:v>0.13467382647792436</c:v>
                </c:pt>
                <c:pt idx="7">
                  <c:v>0.15483900827319605</c:v>
                </c:pt>
                <c:pt idx="8">
                  <c:v>0.26165380079754724</c:v>
                </c:pt>
                <c:pt idx="9">
                  <c:v>0.18614307658344179</c:v>
                </c:pt>
                <c:pt idx="10">
                  <c:v>2.0438568415176189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2.3365898334756715E-2</c:v>
                </c:pt>
                <c:pt idx="1">
                  <c:v>2.0705941386764733E-2</c:v>
                </c:pt>
                <c:pt idx="2">
                  <c:v>1.6278733415296599E-2</c:v>
                </c:pt>
                <c:pt idx="3">
                  <c:v>1.7548824161276975E-2</c:v>
                </c:pt>
                <c:pt idx="4">
                  <c:v>5.7701549538145838E-2</c:v>
                </c:pt>
                <c:pt idx="5">
                  <c:v>0.14579996000114004</c:v>
                </c:pt>
                <c:pt idx="6">
                  <c:v>0.1286472547711171</c:v>
                </c:pt>
                <c:pt idx="7">
                  <c:v>0.1797236450590925</c:v>
                </c:pt>
                <c:pt idx="8">
                  <c:v>0.24907140238754868</c:v>
                </c:pt>
                <c:pt idx="9">
                  <c:v>0.15553268833943143</c:v>
                </c:pt>
                <c:pt idx="10">
                  <c:v>5.6241026054294277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4.1352154506864178E-2</c:v>
                </c:pt>
                <c:pt idx="1">
                  <c:v>1.8944882812584778E-3</c:v>
                </c:pt>
                <c:pt idx="2">
                  <c:v>4.1063764779702226E-3</c:v>
                </c:pt>
                <c:pt idx="3">
                  <c:v>1.662843254070168E-2</c:v>
                </c:pt>
                <c:pt idx="4">
                  <c:v>7.2937955575104685E-2</c:v>
                </c:pt>
                <c:pt idx="5">
                  <c:v>0.15797971891225537</c:v>
                </c:pt>
                <c:pt idx="6">
                  <c:v>9.598337906718378E-2</c:v>
                </c:pt>
                <c:pt idx="7">
                  <c:v>0.21068997706434744</c:v>
                </c:pt>
                <c:pt idx="8">
                  <c:v>0.19968366113881508</c:v>
                </c:pt>
                <c:pt idx="9">
                  <c:v>0.15604544109593402</c:v>
                </c:pt>
                <c:pt idx="10">
                  <c:v>4.2698415339565095E-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3.61116322273985E-2</c:v>
                </c:pt>
                <c:pt idx="1">
                  <c:v>2.3450659593645454E-2</c:v>
                </c:pt>
                <c:pt idx="2">
                  <c:v>4.2418163511807661E-2</c:v>
                </c:pt>
                <c:pt idx="3">
                  <c:v>2.0666175437598685E-2</c:v>
                </c:pt>
                <c:pt idx="4">
                  <c:v>5.0223009271810573E-2</c:v>
                </c:pt>
                <c:pt idx="5">
                  <c:v>7.2486072766880225E-2</c:v>
                </c:pt>
                <c:pt idx="6">
                  <c:v>0.14481255446315666</c:v>
                </c:pt>
                <c:pt idx="7">
                  <c:v>0.16464962829241298</c:v>
                </c:pt>
                <c:pt idx="8">
                  <c:v>0.37080110599668015</c:v>
                </c:pt>
                <c:pt idx="9">
                  <c:v>7.1442598795916912E-2</c:v>
                </c:pt>
                <c:pt idx="10">
                  <c:v>2.9383996426922228E-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12</c:f>
              <c:numCache>
                <c:formatCode>General</c:formatCode>
                <c:ptCount val="11"/>
                <c:pt idx="0">
                  <c:v>5.7058601382366944E-2</c:v>
                </c:pt>
                <c:pt idx="1">
                  <c:v>4.4075340366481537E-2</c:v>
                </c:pt>
                <c:pt idx="2">
                  <c:v>3.9148147102293938E-2</c:v>
                </c:pt>
                <c:pt idx="3">
                  <c:v>2.4302963422487257E-2</c:v>
                </c:pt>
                <c:pt idx="4">
                  <c:v>6.8264835910008606E-2</c:v>
                </c:pt>
                <c:pt idx="5">
                  <c:v>8.1085129025960004E-2</c:v>
                </c:pt>
                <c:pt idx="6">
                  <c:v>0.17391019501158081</c:v>
                </c:pt>
                <c:pt idx="7">
                  <c:v>0.21549263910120092</c:v>
                </c:pt>
                <c:pt idx="8">
                  <c:v>0.18617788954780065</c:v>
                </c:pt>
                <c:pt idx="9">
                  <c:v>9.8373163005540581E-2</c:v>
                </c:pt>
                <c:pt idx="10">
                  <c:v>1.2111096124278782E-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92283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96991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9680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87437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97841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70307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1931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99535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36422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9617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93086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56978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074358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92315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43041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0925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37860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22094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01786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7079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71561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9532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426055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67480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583086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53999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86743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337736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13139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725765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106406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767268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820925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738645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210516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922682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11242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398735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078750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95917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08079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306122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473980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8464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485401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240331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125763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01207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523218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82955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5279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043028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641343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761305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82760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555011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511420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212760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882114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206959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07370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498530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07564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7341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14712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Base Price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4/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28064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5517</Words>
  <Application>Microsoft Office PowerPoint</Application>
  <PresentationFormat>On-screen Show (16:9)</PresentationFormat>
  <Paragraphs>1701</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lpstr>Base Price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14T07:3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